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17" r:id="rId15"/>
    <p:sldId id="315" r:id="rId16"/>
    <p:sldId id="316" r:id="rId17"/>
    <p:sldId id="303" r:id="rId18"/>
    <p:sldId id="306" r:id="rId19"/>
    <p:sldId id="310" r:id="rId20"/>
    <p:sldId id="312" r:id="rId21"/>
    <p:sldId id="311" r:id="rId22"/>
    <p:sldId id="313" r:id="rId23"/>
    <p:sldId id="300" r:id="rId24"/>
    <p:sldId id="314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759"/>
    <a:srgbClr val="1E3523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0612" autoAdjust="0"/>
  </p:normalViewPr>
  <p:slideViewPr>
    <p:cSldViewPr snapToGrid="0">
      <p:cViewPr varScale="1">
        <p:scale>
          <a:sx n="88" d="100"/>
          <a:sy n="88" d="100"/>
        </p:scale>
        <p:origin x="2000" y="1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n Giang" userId="7bf65802d3cf91dc" providerId="LiveId" clId="{EDDAECF9-9FFA-B845-9945-74E05562D683}"/>
    <pc:docChg chg="undo custSel addSld modSld">
      <pc:chgData name="Alvin Giang" userId="7bf65802d3cf91dc" providerId="LiveId" clId="{EDDAECF9-9FFA-B845-9945-74E05562D683}" dt="2024-05-06T08:25:49.163" v="2" actId="680"/>
      <pc:docMkLst>
        <pc:docMk/>
      </pc:docMkLst>
      <pc:sldChg chg="modSp mod">
        <pc:chgData name="Alvin Giang" userId="7bf65802d3cf91dc" providerId="LiveId" clId="{EDDAECF9-9FFA-B845-9945-74E05562D683}" dt="2024-05-06T08:06:45.320" v="1" actId="1076"/>
        <pc:sldMkLst>
          <pc:docMk/>
          <pc:sldMk cId="3428194601" sldId="309"/>
        </pc:sldMkLst>
        <pc:picChg chg="mod">
          <ac:chgData name="Alvin Giang" userId="7bf65802d3cf91dc" providerId="LiveId" clId="{EDDAECF9-9FFA-B845-9945-74E05562D683}" dt="2024-05-06T08:06:45.320" v="1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new">
        <pc:chgData name="Alvin Giang" userId="7bf65802d3cf91dc" providerId="LiveId" clId="{EDDAECF9-9FFA-B845-9945-74E05562D683}" dt="2024-05-06T08:25:49.163" v="2" actId="680"/>
        <pc:sldMkLst>
          <pc:docMk/>
          <pc:sldMk cId="2333040950" sldId="317"/>
        </pc:sldMkLst>
      </pc:sldChg>
    </pc:docChg>
  </pc:docChgLst>
  <pc:docChgLst>
    <pc:chgData name="Alvin Giang" userId="7bf65802d3cf91dc" providerId="LiveId" clId="{A0AC2FBD-ABC0-5247-896D-351E8BEBC21C}"/>
    <pc:docChg chg="undo custSel addSld modSld">
      <pc:chgData name="Alvin Giang" userId="7bf65802d3cf91dc" providerId="LiveId" clId="{A0AC2FBD-ABC0-5247-896D-351E8BEBC21C}" dt="2024-05-05T08:30:53.020" v="90" actId="20577"/>
      <pc:docMkLst>
        <pc:docMk/>
      </pc:docMkLst>
      <pc:sldChg chg="modNotesTx">
        <pc:chgData name="Alvin Giang" userId="7bf65802d3cf91dc" providerId="LiveId" clId="{A0AC2FBD-ABC0-5247-896D-351E8BEBC21C}" dt="2024-05-05T08:30:43.318" v="72" actId="20577"/>
        <pc:sldMkLst>
          <pc:docMk/>
          <pc:sldMk cId="1686951006" sldId="308"/>
        </pc:sldMkLst>
      </pc:sldChg>
      <pc:sldChg chg="addSp modSp mod">
        <pc:chgData name="Alvin Giang" userId="7bf65802d3cf91dc" providerId="LiveId" clId="{A0AC2FBD-ABC0-5247-896D-351E8BEBC21C}" dt="2024-05-05T08:03:57.391" v="4" actId="1076"/>
        <pc:sldMkLst>
          <pc:docMk/>
          <pc:sldMk cId="3428194601" sldId="309"/>
        </pc:sldMkLst>
        <pc:picChg chg="add mod">
          <ac:chgData name="Alvin Giang" userId="7bf65802d3cf91dc" providerId="LiveId" clId="{A0AC2FBD-ABC0-5247-896D-351E8BEBC21C}" dt="2024-05-05T08:03:57.391" v="4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addSp modSp new mod modNotesTx">
        <pc:chgData name="Alvin Giang" userId="7bf65802d3cf91dc" providerId="LiveId" clId="{A0AC2FBD-ABC0-5247-896D-351E8BEBC21C}" dt="2024-05-05T08:30:48.307" v="79" actId="20577"/>
        <pc:sldMkLst>
          <pc:docMk/>
          <pc:sldMk cId="1893508107" sldId="315"/>
        </pc:sldMkLst>
        <pc:picChg chg="add mod">
          <ac:chgData name="Alvin Giang" userId="7bf65802d3cf91dc" providerId="LiveId" clId="{A0AC2FBD-ABC0-5247-896D-351E8BEBC21C}" dt="2024-05-05T08:06:05.112" v="12" actId="14100"/>
          <ac:picMkLst>
            <pc:docMk/>
            <pc:sldMk cId="1893508107" sldId="315"/>
            <ac:picMk id="4" creationId="{524019CB-2D3B-2D30-919A-21E5DC6E698A}"/>
          </ac:picMkLst>
        </pc:picChg>
      </pc:sldChg>
      <pc:sldChg chg="addSp modSp new mod modTransition modAnim modNotesTx">
        <pc:chgData name="Alvin Giang" userId="7bf65802d3cf91dc" providerId="LiveId" clId="{A0AC2FBD-ABC0-5247-896D-351E8BEBC21C}" dt="2024-05-05T08:30:53.020" v="90" actId="20577"/>
        <pc:sldMkLst>
          <pc:docMk/>
          <pc:sldMk cId="4084224202" sldId="316"/>
        </pc:sldMkLst>
        <pc:spChg chg="add mod">
          <ac:chgData name="Alvin Giang" userId="7bf65802d3cf91dc" providerId="LiveId" clId="{A0AC2FBD-ABC0-5247-896D-351E8BEBC21C}" dt="2024-05-05T08:11:12.177" v="65" actId="207"/>
          <ac:spMkLst>
            <pc:docMk/>
            <pc:sldMk cId="4084224202" sldId="316"/>
            <ac:spMk id="3" creationId="{89626B9F-2FE2-5A6B-B096-939661A33E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3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6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817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7F838-8931-4B06-B7CA-DC6CCAFC4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lue dots with red lines&#10;&#10;Description automatically generated">
            <a:extLst>
              <a:ext uri="{FF2B5EF4-FFF2-40B4-BE49-F238E27FC236}">
                <a16:creationId xmlns:a16="http://schemas.microsoft.com/office/drawing/2014/main" id="{C03D3476-4485-B21A-42E0-AC1E3EED8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99" y="171147"/>
            <a:ext cx="9773557" cy="65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3040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24019CB-2D3B-2D30-919A-21E5DC6E6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572" y="749300"/>
            <a:ext cx="8903062" cy="556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08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9626B9F-2FE2-5A6B-B096-939661A33EC8}"/>
              </a:ext>
            </a:extLst>
          </p:cNvPr>
          <p:cNvSpPr txBox="1"/>
          <p:nvPr/>
        </p:nvSpPr>
        <p:spPr>
          <a:xfrm>
            <a:off x="849086" y="1364342"/>
            <a:ext cx="10174513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24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pPr marL="342900" lvl="0" indent="-342900">
              <a:buFont typeface="+mj-lt"/>
              <a:buAutoNum type="arabicPeriod"/>
            </a:pPr>
            <a:endParaRPr lang="en-A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22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040F3-AB4A-BD67-6C85-39E5DB84A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79261-957B-AF90-70CF-BDDC259B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82</TotalTime>
  <Words>380</Words>
  <Application>Microsoft Macintosh PowerPoint</Application>
  <PresentationFormat>Widescreen</PresentationFormat>
  <Paragraphs>95</Paragraphs>
  <Slides>2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Alvin Giang</cp:lastModifiedBy>
  <cp:revision>11</cp:revision>
  <dcterms:created xsi:type="dcterms:W3CDTF">2024-05-04T04:26:45Z</dcterms:created>
  <dcterms:modified xsi:type="dcterms:W3CDTF">2024-05-06T08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